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7" r:id="rId2"/>
    <p:sldId id="308" r:id="rId3"/>
    <p:sldId id="386" r:id="rId4"/>
    <p:sldId id="379" r:id="rId5"/>
    <p:sldId id="305" r:id="rId6"/>
    <p:sldId id="385" r:id="rId7"/>
    <p:sldId id="387" r:id="rId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00"/>
    <a:srgbClr val="008000"/>
    <a:srgbClr val="0000FF"/>
    <a:srgbClr val="006600"/>
    <a:srgbClr val="00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00" autoAdjust="0"/>
    <p:restoredTop sz="94660"/>
  </p:normalViewPr>
  <p:slideViewPr>
    <p:cSldViewPr>
      <p:cViewPr varScale="1">
        <p:scale>
          <a:sx n="75" d="100"/>
          <a:sy n="75" d="100"/>
        </p:scale>
        <p:origin x="-1134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ED1E21-5C67-4403-849B-940840A7F7A5}" type="datetimeFigureOut">
              <a:rPr lang="en-US" smtClean="0"/>
              <a:pPr/>
              <a:t>9/11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A4343-9C81-4614-B79A-06EE6427126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70831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1pPr>
            <a:lvl2pPr marL="742950" indent="-28575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2pPr>
            <a:lvl3pPr marL="11430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3pPr>
            <a:lvl4pPr marL="16002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4pPr>
            <a:lvl5pPr marL="20574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9pPr>
          </a:lstStyle>
          <a:p>
            <a:fld id="{BC404BA7-E38D-4AA9-9FA5-5B33298CDAB1}" type="slidenum">
              <a:rPr lang="en-US" altLang="zh-CN" sz="1200" b="0">
                <a:solidFill>
                  <a:schemeClr val="tx1"/>
                </a:solidFill>
              </a:rPr>
              <a:pPr/>
              <a:t>2</a:t>
            </a:fld>
            <a:endParaRPr lang="en-US" altLang="zh-CN" sz="1200" b="0">
              <a:solidFill>
                <a:schemeClr val="tx1"/>
              </a:solidFill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6175" y="687388"/>
            <a:ext cx="4568825" cy="3425825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281" y="4343436"/>
            <a:ext cx="5485439" cy="4112682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110BD44-0886-40B9-ABC9-02022F4942CD}" type="slidenum">
              <a:rPr lang="es-ES_tradnl"/>
              <a:pPr/>
              <a:t>3</a:t>
            </a:fld>
            <a:endParaRPr lang="es-ES_tradnl"/>
          </a:p>
        </p:txBody>
      </p:sp>
      <p:sp>
        <p:nvSpPr>
          <p:cNvPr id="3390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3390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520"/>
            <a:ext cx="5486400" cy="4114246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3646000-6602-4DF8-9974-080E7FA9D1E6}" type="slidenum">
              <a:rPr lang="en-US"/>
              <a:pPr/>
              <a:t>4</a:t>
            </a:fld>
            <a:endParaRPr lang="en-US"/>
          </a:p>
        </p:txBody>
      </p:sp>
      <p:sp>
        <p:nvSpPr>
          <p:cNvPr id="192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92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143A1FFA-E040-4092-B4E0-4512175252CA}" type="datetime1">
              <a:rPr lang="en-GB"/>
              <a:pPr/>
              <a:t>11/09/2013</a:t>
            </a:fld>
            <a:endParaRPr lang="en-GB" dirty="0"/>
          </a:p>
        </p:txBody>
      </p:sp>
      <p:sp>
        <p:nvSpPr>
          <p:cNvPr id="3686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2061698-92D0-4C2D-ACE9-1F450D42ABB3}" type="slidenum">
              <a:rPr lang="en-GB"/>
              <a:pPr/>
              <a:t>6</a:t>
            </a:fld>
            <a:endParaRPr lang="en-GB" dirty="0"/>
          </a:p>
        </p:txBody>
      </p:sp>
      <p:sp>
        <p:nvSpPr>
          <p:cNvPr id="368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3686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098" y="4343703"/>
            <a:ext cx="5485805" cy="4113893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1pPr>
            <a:lvl2pPr marL="742950" indent="-28575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2pPr>
            <a:lvl3pPr marL="11430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3pPr>
            <a:lvl4pPr marL="16002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4pPr>
            <a:lvl5pPr marL="20574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9pPr>
          </a:lstStyle>
          <a:p>
            <a:fld id="{BC404BA7-E38D-4AA9-9FA5-5B33298CDAB1}" type="slidenum">
              <a:rPr lang="en-US" altLang="zh-CN" sz="1200" b="0">
                <a:solidFill>
                  <a:schemeClr val="tx1"/>
                </a:solidFill>
              </a:rPr>
              <a:pPr/>
              <a:t>7</a:t>
            </a:fld>
            <a:endParaRPr lang="en-US" altLang="zh-CN" sz="1200" b="0">
              <a:solidFill>
                <a:schemeClr val="tx1"/>
              </a:solidFill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6175" y="687388"/>
            <a:ext cx="4568825" cy="3425825"/>
          </a:xfrm>
          <a:ln/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281" y="4343436"/>
            <a:ext cx="5485439" cy="4112682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64569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01169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343292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04800" y="914400"/>
            <a:ext cx="8458200" cy="5410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553200" y="6400800"/>
            <a:ext cx="2362200" cy="3206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1BBE1B-76A5-4E98-A6A9-63D54EA1F6B4}" type="slidenum">
              <a:rPr lang="en-US" altLang="zh-CN"/>
              <a:pPr>
                <a:defRPr/>
              </a:pPr>
              <a:t>‹Nº›</a:t>
            </a:fld>
            <a:endParaRPr lang="en-US" altLang="zh-CN"/>
          </a:p>
        </p:txBody>
      </p:sp>
      <p:pic>
        <p:nvPicPr>
          <p:cNvPr id="5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1367218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88900"/>
            <a:ext cx="6140450" cy="7794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371600"/>
            <a:ext cx="7772400" cy="459105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399213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99213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99313" y="6399213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6378988D-8B8F-46D2-B01E-36FCE1770E57}" type="slidenum">
              <a:rPr lang="es-ES_tradnl"/>
              <a:pPr/>
              <a:t>‹Nº›</a:t>
            </a:fld>
            <a:endParaRPr lang="es-ES_tradnl"/>
          </a:p>
        </p:txBody>
      </p:sp>
      <p:pic>
        <p:nvPicPr>
          <p:cNvPr id="8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95326810"/>
      </p:ext>
    </p:extLst>
  </p:cSld>
  <p:clrMapOvr>
    <a:masterClrMapping/>
  </p:clrMapOvr>
  <p:transition spd="med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C2A720-3396-4C03-91F7-B43F307C4F7E}" type="slidenum">
              <a:rPr lang="ko-KR" altLang="en-GB"/>
              <a:pPr>
                <a:defRPr/>
              </a:pPr>
              <a:t>‹Nº›</a:t>
            </a:fld>
            <a:endParaRPr lang="en-GB" altLang="ko-KR" dirty="0"/>
          </a:p>
        </p:txBody>
      </p:sp>
      <p:pic>
        <p:nvPicPr>
          <p:cNvPr id="6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91015143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88147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4120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28529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1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129561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7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11757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6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31084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8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67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93394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10" descr="Description: Trinity 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8117"/>
            <a:ext cx="1205245" cy="81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157481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F9046-0360-4B80-B4BD-71D117D417B7}" type="datetimeFigureOut">
              <a:rPr lang="en-US" smtClean="0"/>
              <a:pPr/>
              <a:t>9/11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1B364E-6699-45B7-A1E0-4766FD4E5D16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676400" y="1066800"/>
            <a:ext cx="740664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758161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  <p:sldLayoutId id="2147483675" r:id="rId13"/>
    <p:sldLayoutId id="2147483676" r:id="rId14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hyperlink" Target="http://www.ternium.com.mx/" TargetMode="External"/><Relationship Id="rId7" Type="http://schemas.openxmlformats.org/officeDocument/2006/relationships/hyperlink" Target="http://www.deacero.com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.png"/><Relationship Id="rId5" Type="http://schemas.openxmlformats.org/officeDocument/2006/relationships/hyperlink" Target="http://www.villacero.com/" TargetMode="External"/><Relationship Id="rId10" Type="http://schemas.openxmlformats.org/officeDocument/2006/relationships/image" Target="../media/image8.png"/><Relationship Id="rId4" Type="http://schemas.openxmlformats.org/officeDocument/2006/relationships/image" Target="../media/image5.png"/><Relationship Id="rId9" Type="http://schemas.openxmlformats.org/officeDocument/2006/relationships/hyperlink" Target="http://www.ahmsa.com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381000" y="2590800"/>
            <a:ext cx="8153400" cy="3034833"/>
            <a:chOff x="381000" y="2590800"/>
            <a:chExt cx="8153400" cy="3034833"/>
          </a:xfrm>
        </p:grpSpPr>
        <p:pic>
          <p:nvPicPr>
            <p:cNvPr id="4" name="Picture 10" descr="Description: Trinity Logo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3009" y="2590800"/>
              <a:ext cx="2647527" cy="21048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381000" y="5163968"/>
              <a:ext cx="81534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2400" b="1" i="1" dirty="0">
                  <a:ln w="17780" cmpd="sng">
                    <a:solidFill>
                      <a:srgbClr val="006600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</a:rPr>
                <a:t>TRINITY  INDUSTRIES </a:t>
              </a:r>
              <a:r>
                <a:rPr lang="es-ES" sz="2400" b="1" i="1" dirty="0" smtClean="0">
                  <a:ln w="17780" cmpd="sng">
                    <a:solidFill>
                      <a:srgbClr val="006600"/>
                    </a:solidFill>
                    <a:prstDash val="solid"/>
                    <a:miter lim="800000"/>
                  </a:ln>
                  <a:gradFill rotWithShape="1">
                    <a:gsLst>
                      <a:gs pos="0">
                        <a:srgbClr val="000000">
                          <a:tint val="92000"/>
                          <a:shade val="100000"/>
                          <a:satMod val="150000"/>
                        </a:srgbClr>
                      </a:gs>
                      <a:gs pos="49000">
                        <a:srgbClr val="000000">
                          <a:tint val="89000"/>
                          <a:shade val="90000"/>
                          <a:satMod val="150000"/>
                        </a:srgbClr>
                      </a:gs>
                      <a:gs pos="50000">
                        <a:srgbClr val="000000">
                          <a:tint val="100000"/>
                          <a:shade val="75000"/>
                          <a:satMod val="150000"/>
                        </a:srgbClr>
                      </a:gs>
                      <a:gs pos="95000">
                        <a:srgbClr val="000000">
                          <a:shade val="47000"/>
                          <a:satMod val="150000"/>
                        </a:srgbClr>
                      </a:gs>
                      <a:gs pos="100000">
                        <a:srgbClr val="000000">
                          <a:shade val="39000"/>
                          <a:satMod val="150000"/>
                        </a:srgbClr>
                      </a:gs>
                    </a:gsLst>
                    <a:lin ang="5400000"/>
                  </a:gradFill>
                  <a:effectLst>
                    <a:outerShdw blurRad="50800" algn="tl" rotWithShape="0">
                      <a:srgbClr val="000000"/>
                    </a:outerShdw>
                  </a:effectLst>
                </a:rPr>
                <a:t>DE MEXICO</a:t>
              </a:r>
              <a:endParaRPr lang="en-US" sz="2400" b="1" i="1" dirty="0">
                <a:ln w="17780" cmpd="sng">
                  <a:solidFill>
                    <a:srgbClr val="006600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endParaRPr>
            </a:p>
          </p:txBody>
        </p:sp>
      </p:grp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47800" y="93345"/>
            <a:ext cx="7696200" cy="2116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2800" y="3733800"/>
            <a:ext cx="1495425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51303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34400" y="6356350"/>
            <a:ext cx="457200" cy="365125"/>
          </a:xfrm>
          <a:noFill/>
        </p:spPr>
        <p:txBody>
          <a:bodyPr/>
          <a:lstStyle>
            <a:lvl1pPr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1pPr>
            <a:lvl2pPr marL="742950" indent="-28575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2pPr>
            <a:lvl3pPr marL="11430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3pPr>
            <a:lvl4pPr marL="16002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4pPr>
            <a:lvl5pPr marL="20574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/>
            <a:fld id="{65458AE6-0A05-4DCF-8363-B2A992AB4B2C}" type="slidenum">
              <a:rPr lang="en-US" altLang="zh-CN" sz="1400" b="0">
                <a:solidFill>
                  <a:schemeClr val="tx1"/>
                </a:solidFill>
              </a:rPr>
              <a:pPr algn="r"/>
              <a:t>2</a:t>
            </a:fld>
            <a:endParaRPr lang="en-US" altLang="zh-CN" sz="1400" b="0" dirty="0">
              <a:solidFill>
                <a:schemeClr val="tx1"/>
              </a:solidFill>
            </a:endParaRPr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14600" y="228600"/>
            <a:ext cx="6553200" cy="609600"/>
          </a:xfrm>
        </p:spPr>
        <p:txBody>
          <a:bodyPr>
            <a:noAutofit/>
          </a:bodyPr>
          <a:lstStyle/>
          <a:p>
            <a:pPr algn="r" eaLnBrk="1" hangingPunct="1"/>
            <a:r>
              <a:rPr lang="en-US" altLang="zh-CN" sz="4800" i="1" dirty="0" smtClean="0">
                <a:solidFill>
                  <a:schemeClr val="tx2"/>
                </a:solidFill>
              </a:rPr>
              <a:t>Agenda</a:t>
            </a:r>
          </a:p>
        </p:txBody>
      </p:sp>
      <p:sp>
        <p:nvSpPr>
          <p:cNvPr id="3174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95413" y="1835150"/>
            <a:ext cx="7215187" cy="3016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55600" indent="-355600" algn="l" defTabSz="957263" eaLnBrk="1" hangingPunct="1">
              <a:spcBef>
                <a:spcPct val="100000"/>
              </a:spcBef>
            </a:pPr>
            <a:r>
              <a:rPr lang="es-MX" altLang="zh-CN" sz="28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Mercado Actual</a:t>
            </a:r>
          </a:p>
          <a:p>
            <a:pPr marL="355600" indent="-355600" algn="l" defTabSz="957263" eaLnBrk="1" hangingPunct="1">
              <a:spcBef>
                <a:spcPct val="100000"/>
              </a:spcBef>
            </a:pPr>
            <a:r>
              <a:rPr lang="es-MX" sz="28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Acero Importado vs Nacional</a:t>
            </a:r>
          </a:p>
          <a:p>
            <a:pPr marL="355600" indent="-355600" algn="l" defTabSz="957263" eaLnBrk="1" hangingPunct="1">
              <a:spcBef>
                <a:spcPct val="100000"/>
              </a:spcBef>
            </a:pPr>
            <a:r>
              <a:rPr lang="es-MX" sz="28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Proyectos de inversión</a:t>
            </a:r>
          </a:p>
          <a:p>
            <a:pPr marL="355600" indent="-355600" defTabSz="957263">
              <a:spcBef>
                <a:spcPct val="100000"/>
              </a:spcBef>
            </a:pPr>
            <a:r>
              <a:rPr lang="es-MX" sz="28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</a:t>
            </a:r>
          </a:p>
        </p:txBody>
      </p:sp>
      <p:sp>
        <p:nvSpPr>
          <p:cNvPr id="31750" name="Oval 5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1038225" y="1814513"/>
            <a:ext cx="409575" cy="409575"/>
          </a:xfrm>
          <a:prstGeom prst="ellipse">
            <a:avLst/>
          </a:prstGeom>
          <a:solidFill>
            <a:schemeClr val="bg2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77900" eaLnBrk="1" hangingPunct="1"/>
            <a:r>
              <a:rPr lang="en-GB" sz="1600">
                <a:latin typeface="Tahoma" pitchFamily="34" charset="0"/>
              </a:rPr>
              <a:t>1</a:t>
            </a:r>
          </a:p>
        </p:txBody>
      </p:sp>
      <p:sp>
        <p:nvSpPr>
          <p:cNvPr id="31751" name="Oval 6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gray">
          <a:xfrm>
            <a:off x="1066800" y="2743200"/>
            <a:ext cx="409575" cy="409575"/>
          </a:xfrm>
          <a:prstGeom prst="ellipse">
            <a:avLst/>
          </a:prstGeom>
          <a:solidFill>
            <a:schemeClr val="bg2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77900" eaLnBrk="1" hangingPunct="1"/>
            <a:r>
              <a:rPr lang="en-GB" sz="1600">
                <a:latin typeface="Tahoma" pitchFamily="34" charset="0"/>
              </a:rPr>
              <a:t>2</a:t>
            </a:r>
          </a:p>
        </p:txBody>
      </p:sp>
      <p:sp>
        <p:nvSpPr>
          <p:cNvPr id="9" name="Oval 6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1066800" y="3552825"/>
            <a:ext cx="409575" cy="409575"/>
          </a:xfrm>
          <a:prstGeom prst="ellipse">
            <a:avLst/>
          </a:prstGeom>
          <a:solidFill>
            <a:schemeClr val="bg2"/>
          </a:solidFill>
          <a:ln w="19050" algn="ctr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77900" eaLnBrk="1" hangingPunct="1"/>
            <a:r>
              <a:rPr lang="en-GB" sz="1600" dirty="0" smtClean="0">
                <a:latin typeface="Tahoma" pitchFamily="34" charset="0"/>
              </a:rPr>
              <a:t>3</a:t>
            </a:r>
            <a:endParaRPr lang="en-GB" sz="1600" dirty="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9476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"/>
          <p:cNvSpPr>
            <a:spLocks noGrp="1" noChangeArrowheads="1"/>
          </p:cNvSpPr>
          <p:nvPr>
            <p:ph type="title"/>
          </p:nvPr>
        </p:nvSpPr>
        <p:spPr>
          <a:xfrm>
            <a:off x="2514600" y="228600"/>
            <a:ext cx="6553200" cy="609600"/>
          </a:xfrm>
        </p:spPr>
        <p:txBody>
          <a:bodyPr>
            <a:noAutofit/>
          </a:bodyPr>
          <a:lstStyle/>
          <a:p>
            <a:pPr algn="r" eaLnBrk="1" hangingPunct="1"/>
            <a:r>
              <a:rPr lang="en-US" altLang="zh-CN" sz="4800" i="1" dirty="0" smtClean="0">
                <a:solidFill>
                  <a:schemeClr val="tx2"/>
                </a:solidFill>
              </a:rPr>
              <a:t>Mercado Actual</a:t>
            </a:r>
          </a:p>
        </p:txBody>
      </p:sp>
      <p:graphicFrame>
        <p:nvGraphicFramePr>
          <p:cNvPr id="7" name="Group 12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2079797474"/>
              </p:ext>
            </p:extLst>
          </p:nvPr>
        </p:nvGraphicFramePr>
        <p:xfrm>
          <a:off x="152400" y="1219200"/>
          <a:ext cx="8762999" cy="5057092"/>
        </p:xfrm>
        <a:graphic>
          <a:graphicData uri="http://schemas.openxmlformats.org/drawingml/2006/table">
            <a:tbl>
              <a:tblPr/>
              <a:tblGrid>
                <a:gridCol w="1981200"/>
                <a:gridCol w="2895600"/>
                <a:gridCol w="2057400"/>
                <a:gridCol w="1828799"/>
              </a:tblGrid>
              <a:tr h="84818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MX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Segmento - Productos</a:t>
                      </a:r>
                      <a:endParaRPr kumimoji="0" lang="en-US" sz="18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Mercado </a:t>
                      </a:r>
                    </a:p>
                    <a:p>
                      <a:pPr algn="ctr"/>
                      <a:r>
                        <a:rPr lang="es-MX" sz="1800" b="1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Interno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Mercado de </a:t>
                      </a:r>
                      <a:r>
                        <a:rPr kumimoji="0" lang="en-US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Exportación</a:t>
                      </a: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4400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s-MX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ransportación</a:t>
                      </a:r>
                      <a:endParaRPr lang="en-US" sz="1800" kern="1200" dirty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arros de Ferrocarril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molques de Ga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err="1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utotanques</a:t>
                      </a:r>
                      <a:endParaRPr lang="en-US" sz="1600" kern="1200" dirty="0" smtClean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Wingdings" pitchFamily="2" charset="2"/>
                        </a:rPr>
                        <a:t>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Wingdings" pitchFamily="2" charset="2"/>
                        </a:rPr>
                        <a:t></a:t>
                      </a:r>
                      <a:endParaRPr lang="es-ES_tradnl" sz="1800" kern="1200" dirty="0" smtClean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Wingdings" pitchFamily="2" charset="2"/>
                        </a:rPr>
                        <a:t></a:t>
                      </a:r>
                      <a:endParaRPr lang="es-ES_tradnl" sz="1800" kern="1200" dirty="0" smtClean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Wingdings" pitchFamily="2" charset="2"/>
                        </a:rPr>
                        <a:t>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Wingdings" pitchFamily="2" charset="2"/>
                        </a:rPr>
                        <a:t></a:t>
                      </a:r>
                      <a:endParaRPr lang="es-ES_tradnl" sz="1800" kern="1200" dirty="0" smtClean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Wingdings" pitchFamily="2" charset="2"/>
                        </a:rPr>
                        <a:t></a:t>
                      </a:r>
                      <a:endParaRPr lang="es-ES_tradnl" sz="1800" kern="1200" dirty="0" smtClean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896959">
                <a:tc>
                  <a:txBody>
                    <a:bodyPr/>
                    <a:lstStyle/>
                    <a:p>
                      <a:pPr algn="ctr"/>
                      <a:r>
                        <a:rPr lang="es-MX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nfraestructura</a:t>
                      </a:r>
                      <a:endParaRPr lang="en-US" sz="1800" kern="1200" dirty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roductos para carretera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ransmisión eléctrica</a:t>
                      </a:r>
                      <a:r>
                        <a:rPr lang="en-US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</a:t>
                      </a:r>
                      <a:endParaRPr lang="es-MX" sz="1600" kern="1200" dirty="0" smtClean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n-US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Wingdings" pitchFamily="2" charset="2"/>
                        </a:rPr>
                        <a:t>X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es-MX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  <a:sym typeface="Wingdings" pitchFamily="2" charset="2"/>
                        </a:rPr>
                        <a:t>X</a:t>
                      </a:r>
                      <a:endParaRPr lang="es-ES_tradnl" sz="1800" kern="1200" dirty="0" smtClean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</a:t>
                      </a:r>
                      <a:endParaRPr kumimoji="0" lang="es-ES_tradnl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sym typeface="Wingdings" pitchFamily="2" charset="2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08442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MX" sz="18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nergía</a:t>
                      </a:r>
                      <a:endParaRPr lang="en-US" sz="1800" kern="1200" dirty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ntenedores para gas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orres de viento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ilindros portátiles</a:t>
                      </a: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--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--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</a:t>
                      </a:r>
                      <a:endParaRPr kumimoji="0" lang="es-ES_tradnl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sym typeface="Wingdings" pitchFamily="2" charset="2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</a:t>
                      </a:r>
                      <a:endParaRPr kumimoji="0" lang="es-ES_tradnl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sym typeface="Wingdings" pitchFamily="2" charset="2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s-MX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---</a:t>
                      </a:r>
                      <a:endParaRPr kumimoji="0" lang="es-ES_tradnl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sym typeface="Wingdings" pitchFamily="2" charset="2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8744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MX" sz="1800" kern="1200" dirty="0" err="1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OEMs</a:t>
                      </a:r>
                      <a:endParaRPr lang="en-US" sz="1800" kern="1200" dirty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artes y componentes</a:t>
                      </a:r>
                      <a:endParaRPr lang="en-US" sz="1600" kern="1200" dirty="0" smtClean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</a:t>
                      </a:r>
                      <a:endParaRPr kumimoji="0" lang="es-ES_tradnl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sym typeface="Wingdings" pitchFamily="2" charset="2"/>
                        </a:rPr>
                        <a:t></a:t>
                      </a:r>
                      <a:endParaRPr kumimoji="0" lang="es-MX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sym typeface="Wingdings" pitchFamily="2" charset="2"/>
                      </a:endParaRPr>
                    </a:p>
                  </a:txBody>
                  <a:tcPr marL="54000" marR="54000" marT="53994" marB="53994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52400" y="6428601"/>
            <a:ext cx="35333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  Crecimiento  X   Lento </a:t>
            </a:r>
            <a:r>
              <a:rPr lang="es-MX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movimiento </a:t>
            </a:r>
            <a:r>
              <a:rPr lang="es-MX" sz="12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ea typeface="ＭＳ Ｐゴシック" pitchFamily="34" charset="-128"/>
                <a:sym typeface="Wingdings" pitchFamily="2" charset="2"/>
              </a:rPr>
              <a:t>---  </a:t>
            </a:r>
            <a:r>
              <a:rPr lang="es-MX" sz="12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ea typeface="ＭＳ Ｐゴシック" pitchFamily="34" charset="-128"/>
                <a:sym typeface="Wingdings" pitchFamily="2" charset="2"/>
              </a:rPr>
              <a:t>Estable</a:t>
            </a:r>
            <a:endParaRPr lang="es-MX" sz="1200" dirty="0">
              <a:solidFill>
                <a:schemeClr val="accent1">
                  <a:lumMod val="75000"/>
                </a:schemeClr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34400" y="6356350"/>
            <a:ext cx="457200" cy="365125"/>
          </a:xfrm>
          <a:noFill/>
        </p:spPr>
        <p:txBody>
          <a:bodyPr/>
          <a:lstStyle>
            <a:lvl1pPr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1pPr>
            <a:lvl2pPr marL="742950" indent="-28575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2pPr>
            <a:lvl3pPr marL="11430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3pPr>
            <a:lvl4pPr marL="16002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4pPr>
            <a:lvl5pPr marL="20574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/>
            <a:fld id="{65458AE6-0A05-4DCF-8363-B2A992AB4B2C}" type="slidenum">
              <a:rPr lang="en-US" altLang="zh-CN" sz="1400" b="0">
                <a:solidFill>
                  <a:schemeClr val="tx1"/>
                </a:solidFill>
              </a:rPr>
              <a:pPr algn="r"/>
              <a:t>3</a:t>
            </a:fld>
            <a:endParaRPr lang="en-US" altLang="zh-CN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109928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"/>
          <p:cNvSpPr txBox="1">
            <a:spLocks noChangeArrowheads="1"/>
          </p:cNvSpPr>
          <p:nvPr/>
        </p:nvSpPr>
        <p:spPr>
          <a:xfrm>
            <a:off x="1752600" y="228600"/>
            <a:ext cx="7391400" cy="609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s-MX" altLang="zh-CN" sz="4800" i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cero Nacional vs </a:t>
            </a:r>
            <a:r>
              <a:rPr lang="es-MX" altLang="zh-CN" sz="4800" i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mportado</a:t>
            </a:r>
            <a:endParaRPr lang="es-MX" altLang="zh-CN" sz="4800" i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169271360"/>
              </p:ext>
            </p:extLst>
          </p:nvPr>
        </p:nvGraphicFramePr>
        <p:xfrm>
          <a:off x="166254" y="1676400"/>
          <a:ext cx="8839200" cy="5105400"/>
        </p:xfrm>
        <a:graphic>
          <a:graphicData uri="http://schemas.openxmlformats.org/presentationml/2006/ole">
            <p:oleObj spid="_x0000_s43148" name="Chart" r:id="rId4" imgW="4762567" imgH="2628883" progId="MSGraph.Chart.8">
              <p:embed/>
            </p:oleObj>
          </a:graphicData>
        </a:graphic>
      </p:graphicFrame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34400" y="6356350"/>
            <a:ext cx="457200" cy="365125"/>
          </a:xfrm>
          <a:noFill/>
        </p:spPr>
        <p:txBody>
          <a:bodyPr/>
          <a:lstStyle>
            <a:lvl1pPr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1pPr>
            <a:lvl2pPr marL="742950" indent="-28575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2pPr>
            <a:lvl3pPr marL="11430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3pPr>
            <a:lvl4pPr marL="16002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4pPr>
            <a:lvl5pPr marL="20574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/>
            <a:fld id="{65458AE6-0A05-4DCF-8363-B2A992AB4B2C}" type="slidenum">
              <a:rPr lang="en-US" altLang="zh-CN" sz="1400" b="0">
                <a:solidFill>
                  <a:schemeClr val="tx1"/>
                </a:solidFill>
              </a:rPr>
              <a:pPr algn="r"/>
              <a:t>4</a:t>
            </a:fld>
            <a:endParaRPr lang="en-US" altLang="zh-CN" sz="1400" b="0" dirty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638800" y="356303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5642264" y="1371600"/>
            <a:ext cx="3154214" cy="168335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s-MX" sz="1400" b="1" i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mportado </a:t>
            </a:r>
            <a:r>
              <a:rPr lang="es-MX" sz="14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2012 </a:t>
            </a:r>
          </a:p>
          <a:p>
            <a:pPr marL="171450" indent="-171450" algn="ctr">
              <a:buFont typeface="Arial" pitchFamily="34" charset="0"/>
              <a:buChar char="•"/>
            </a:pPr>
            <a:r>
              <a:rPr lang="es-MX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es-MX" sz="1600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ollo    </a:t>
            </a:r>
            <a:r>
              <a:rPr lang="es-MX" sz="1600" b="1" i="1" u="sng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%</a:t>
            </a:r>
            <a:endParaRPr lang="es-MX" sz="1600" b="1" i="1" u="sng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ctr">
              <a:buFont typeface="Arial" pitchFamily="34" charset="0"/>
              <a:buChar char="•"/>
            </a:pPr>
            <a:r>
              <a:rPr lang="es-MX" sz="1600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Placa   </a:t>
            </a:r>
            <a:r>
              <a:rPr lang="es-MX" sz="1600" b="1" i="1" u="sng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44%</a:t>
            </a:r>
            <a:r>
              <a:rPr lang="es-MX" sz="1600" i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s-MX" sz="1600" i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es-MX" sz="1400" b="1" i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mportado </a:t>
            </a:r>
            <a:r>
              <a:rPr lang="es-MX" sz="14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2013</a:t>
            </a:r>
          </a:p>
          <a:p>
            <a:pPr marL="285750" indent="-285750" algn="ctr">
              <a:buFont typeface="Arial" pitchFamily="34" charset="0"/>
              <a:buChar char="•"/>
            </a:pPr>
            <a:r>
              <a:rPr lang="es-MX" sz="1600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Rollo   </a:t>
            </a:r>
            <a:r>
              <a:rPr lang="es-MX" sz="1600" b="1" i="1" u="sng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27%</a:t>
            </a:r>
            <a:endParaRPr lang="es-MX" sz="1600" b="1" i="1" u="sng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algn="ctr">
              <a:buFont typeface="Arial" pitchFamily="34" charset="0"/>
              <a:buChar char="•"/>
            </a:pPr>
            <a:r>
              <a:rPr lang="es-MX" sz="1600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laca  </a:t>
            </a:r>
            <a:r>
              <a:rPr lang="es-MX" sz="1600" b="1" i="1" u="sng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73%</a:t>
            </a:r>
            <a:r>
              <a:rPr lang="es-MX" sz="1600" i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z="1600" i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xmlns="" val="349874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76200" y="4154488"/>
            <a:ext cx="3733800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572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4000" dirty="0">
                <a:solidFill>
                  <a:schemeClr val="bg1"/>
                </a:solidFill>
                <a:latin typeface="+mn-lt"/>
                <a:cs typeface="+mn-cs"/>
              </a:rPr>
              <a:t>   	  </a:t>
            </a:r>
            <a:r>
              <a:rPr lang="en-US" sz="2800" b="1" dirty="0">
                <a:solidFill>
                  <a:schemeClr val="bg1"/>
                </a:solidFill>
                <a:latin typeface="+mn-lt"/>
                <a:cs typeface="+mn-cs"/>
              </a:rPr>
              <a:t>Health &amp; Safety</a:t>
            </a: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304800" y="5184648"/>
            <a:ext cx="3657600" cy="987552"/>
          </a:xfrm>
          <a:prstGeom prst="rect">
            <a:avLst/>
          </a:prstGeom>
          <a:gradFill rotWithShape="1">
            <a:gsLst>
              <a:gs pos="0">
                <a:srgbClr val="3366FF"/>
              </a:gs>
              <a:gs pos="100000">
                <a:srgbClr val="0000C0"/>
              </a:gs>
            </a:gsLst>
            <a:path path="shape">
              <a:fillToRect l="50000" t="50000" r="50000" b="50000"/>
            </a:path>
          </a:gradFill>
          <a:ln w="31750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s-MX" sz="2800" b="1" dirty="0" smtClean="0">
                <a:solidFill>
                  <a:schemeClr val="bg1"/>
                </a:solidFill>
                <a:latin typeface="+mn-lt"/>
                <a:cs typeface="+mn-cs"/>
              </a:rPr>
              <a:t>SERVICIO</a:t>
            </a:r>
            <a:endParaRPr lang="en-US" sz="2800" b="1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304800" y="1371600"/>
            <a:ext cx="3657600" cy="990600"/>
          </a:xfrm>
          <a:prstGeom prst="rect">
            <a:avLst/>
          </a:prstGeom>
          <a:solidFill>
            <a:schemeClr val="accent3"/>
          </a:solidFill>
          <a:ln w="31750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s-MX" sz="2800" b="1" dirty="0" smtClean="0">
                <a:solidFill>
                  <a:schemeClr val="bg1"/>
                </a:solidFill>
                <a:latin typeface="+mn-lt"/>
                <a:cs typeface="+mn-cs"/>
              </a:rPr>
              <a:t>CAPACIDAD/PRECIO</a:t>
            </a:r>
            <a:endParaRPr lang="en-US" sz="2800" b="1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304800" y="3203448"/>
            <a:ext cx="3657600" cy="987552"/>
          </a:xfrm>
          <a:prstGeom prst="rect">
            <a:avLst/>
          </a:prstGeom>
          <a:solidFill>
            <a:schemeClr val="accent5">
              <a:lumMod val="50000"/>
            </a:schemeClr>
          </a:solidFill>
          <a:ln w="31750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s-MX" sz="2400" b="1" dirty="0" smtClean="0">
                <a:solidFill>
                  <a:schemeClr val="bg1"/>
                </a:solidFill>
                <a:latin typeface="+mn-lt"/>
                <a:cs typeface="+mn-cs"/>
              </a:rPr>
              <a:t>GRADOS Y MEDIDAS</a:t>
            </a:r>
            <a:endParaRPr lang="en-US" sz="2400" b="1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724275" y="1143000"/>
            <a:ext cx="5257800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just" defTabSz="9572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altLang="zh-CN" sz="16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endParaRPr lang="es-MX" sz="1600" b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628650" lvl="1" indent="-17145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MX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alta de acero en México de diferentes  espesores, grados, medidas, </a:t>
            </a:r>
            <a:r>
              <a:rPr lang="es-MX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tre las principales.</a:t>
            </a:r>
            <a:endParaRPr lang="es-MX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628650" lvl="1" indent="-171450" algn="just">
              <a:buFont typeface="Arial" pitchFamily="34" charset="0"/>
              <a:buChar char="•"/>
              <a:defRPr/>
            </a:pPr>
            <a:r>
              <a:rPr lang="es-MX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ecios accesibles  de acero  extranjero.</a:t>
            </a:r>
          </a:p>
          <a:p>
            <a:pPr marL="628650" lvl="1" indent="-171450" algn="just">
              <a:buFont typeface="Arial" pitchFamily="34" charset="0"/>
              <a:buChar char="•"/>
              <a:defRPr/>
            </a:pPr>
            <a:r>
              <a:rPr lang="es-MX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amaño de la colada.</a:t>
            </a:r>
          </a:p>
          <a:p>
            <a:pPr marL="628650" lvl="1" indent="-17145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s-MX" sz="1600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lvl="1"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6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</a:t>
            </a:r>
          </a:p>
        </p:txBody>
      </p:sp>
      <p:sp>
        <p:nvSpPr>
          <p:cNvPr id="18" name="Rectangle 11"/>
          <p:cNvSpPr>
            <a:spLocks noChangeArrowheads="1"/>
          </p:cNvSpPr>
          <p:nvPr/>
        </p:nvSpPr>
        <p:spPr bwMode="auto">
          <a:xfrm>
            <a:off x="4095750" y="3002340"/>
            <a:ext cx="4495800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3366FF"/>
                    </a:gs>
                    <a:gs pos="100000">
                      <a:srgbClr val="0000C0"/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xmlns="" w="31750" algn="ctr">
                <a:solidFill>
                  <a:srgbClr val="0000A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MX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ener mayor producción y variedad en México. 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MX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ntar con la producción de requerimientos como normalizado, cobre y silicio controlado</a:t>
            </a:r>
            <a:r>
              <a:rPr lang="es-MX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s-MX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edidas no estándar, </a:t>
            </a:r>
            <a:r>
              <a:rPr lang="es-MX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tre las principales.</a:t>
            </a:r>
            <a:endParaRPr lang="es-MX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s-MX" sz="16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05" name="Rectangle 8"/>
          <p:cNvSpPr>
            <a:spLocks noChangeArrowheads="1"/>
          </p:cNvSpPr>
          <p:nvPr/>
        </p:nvSpPr>
        <p:spPr bwMode="auto">
          <a:xfrm>
            <a:off x="4105275" y="5153561"/>
            <a:ext cx="4648200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3366FF"/>
                    </a:gs>
                    <a:gs pos="100000">
                      <a:srgbClr val="0000C0"/>
                    </a:gs>
                  </a:gsLst>
                  <a:path path="shape">
                    <a:fillToRect l="50000" t="50000" r="50000" b="50000"/>
                  </a:path>
                </a:gradFill>
              </a14:hiddenFill>
            </a:ext>
            <a:ext uri="{91240B29-F687-4F45-9708-019B960494DF}">
              <a14:hiddenLine xmlns:a14="http://schemas.microsoft.com/office/drawing/2010/main" xmlns="" w="31750" algn="ctr">
                <a:solidFill>
                  <a:srgbClr val="0000A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171450" indent="-171450" algn="just">
              <a:buFont typeface="Arial" charset="0"/>
              <a:buChar char="•"/>
            </a:pPr>
            <a:r>
              <a:rPr lang="es-MX" altLang="zh-CN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squemas de corte o fabricación a la medida.</a:t>
            </a:r>
          </a:p>
          <a:p>
            <a:pPr marL="171450" indent="-171450" algn="just">
              <a:buFont typeface="Arial" charset="0"/>
              <a:buChar char="•"/>
            </a:pPr>
            <a:r>
              <a:rPr lang="es-MX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ervicios integrados (almacenamiento, corte a la medida, </a:t>
            </a:r>
            <a:r>
              <a:rPr lang="es-MX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ntre las principales).</a:t>
            </a:r>
            <a:endParaRPr lang="es-MX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 algn="just">
              <a:buFont typeface="Arial" charset="0"/>
              <a:buChar char="•"/>
            </a:pPr>
            <a:r>
              <a:rPr lang="es-MX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isponibilidad de material.</a:t>
            </a:r>
          </a:p>
          <a:p>
            <a:pPr lvl="1" algn="just"/>
            <a:endParaRPr lang="es-MX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"/>
          <p:cNvSpPr txBox="1">
            <a:spLocks noChangeArrowheads="1"/>
          </p:cNvSpPr>
          <p:nvPr/>
        </p:nvSpPr>
        <p:spPr>
          <a:xfrm>
            <a:off x="1752600" y="228600"/>
            <a:ext cx="7391400" cy="609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s-MX" altLang="zh-CN" sz="4800" i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cero </a:t>
            </a:r>
            <a:r>
              <a:rPr lang="es-MX" altLang="zh-CN" sz="4800" i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mportado vs Nacional</a:t>
            </a:r>
            <a:endParaRPr lang="es-MX" altLang="zh-CN" sz="4800" i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34400" y="6356350"/>
            <a:ext cx="457200" cy="365125"/>
          </a:xfrm>
          <a:noFill/>
        </p:spPr>
        <p:txBody>
          <a:bodyPr/>
          <a:lstStyle>
            <a:lvl1pPr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1pPr>
            <a:lvl2pPr marL="742950" indent="-28575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2pPr>
            <a:lvl3pPr marL="11430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3pPr>
            <a:lvl4pPr marL="16002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4pPr>
            <a:lvl5pPr marL="20574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/>
            <a:fld id="{65458AE6-0A05-4DCF-8363-B2A992AB4B2C}" type="slidenum">
              <a:rPr lang="en-US" altLang="zh-CN" sz="1400" b="0">
                <a:solidFill>
                  <a:schemeClr val="tx1"/>
                </a:solidFill>
              </a:rPr>
              <a:pPr algn="r"/>
              <a:t>5</a:t>
            </a:fld>
            <a:endParaRPr lang="en-US" altLang="zh-CN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0795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Line 3"/>
          <p:cNvSpPr>
            <a:spLocks noChangeShapeType="1"/>
          </p:cNvSpPr>
          <p:nvPr/>
        </p:nvSpPr>
        <p:spPr bwMode="blackWhite">
          <a:xfrm>
            <a:off x="274638" y="1371600"/>
            <a:ext cx="8612187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</p:spPr>
        <p:txBody>
          <a:bodyPr wrap="none" lIns="63500" tIns="0" rIns="64800" bIns="0"/>
          <a:lstStyle/>
          <a:p>
            <a:endParaRPr lang="es-MX"/>
          </a:p>
        </p:txBody>
      </p:sp>
      <p:sp>
        <p:nvSpPr>
          <p:cNvPr id="9221" name="Text Box 4"/>
          <p:cNvSpPr txBox="1">
            <a:spLocks noChangeArrowheads="1"/>
          </p:cNvSpPr>
          <p:nvPr/>
        </p:nvSpPr>
        <p:spPr bwMode="blackWhite">
          <a:xfrm>
            <a:off x="914400" y="1066800"/>
            <a:ext cx="132272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3500" tIns="0" rIns="64800" bIns="0">
            <a:spAutoFit/>
          </a:bodyPr>
          <a:lstStyle/>
          <a:p>
            <a:pPr algn="l" eaLnBrk="1" hangingPunct="1">
              <a:spcBef>
                <a:spcPct val="50000"/>
              </a:spcBef>
              <a:buSzPct val="90000"/>
            </a:pPr>
            <a:r>
              <a:rPr lang="es-MX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ompañía</a:t>
            </a:r>
            <a:endParaRPr lang="es-MX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224" name="Line 7"/>
          <p:cNvSpPr>
            <a:spLocks noChangeShapeType="1"/>
          </p:cNvSpPr>
          <p:nvPr/>
        </p:nvSpPr>
        <p:spPr bwMode="blackWhite">
          <a:xfrm>
            <a:off x="276225" y="4267200"/>
            <a:ext cx="8588375" cy="0"/>
          </a:xfrm>
          <a:prstGeom prst="line">
            <a:avLst/>
          </a:prstGeom>
          <a:noFill/>
          <a:ln w="6350">
            <a:solidFill>
              <a:schemeClr val="folHlink"/>
            </a:solidFill>
            <a:prstDash val="dash"/>
            <a:round/>
            <a:headEnd/>
            <a:tailEnd/>
          </a:ln>
        </p:spPr>
        <p:txBody>
          <a:bodyPr wrap="none" lIns="63500" tIns="0" rIns="64800" bIns="0"/>
          <a:lstStyle/>
          <a:p>
            <a:endParaRPr lang="es-MX"/>
          </a:p>
        </p:txBody>
      </p:sp>
      <p:sp>
        <p:nvSpPr>
          <p:cNvPr id="25" name="Line 6"/>
          <p:cNvSpPr>
            <a:spLocks noChangeShapeType="1"/>
          </p:cNvSpPr>
          <p:nvPr/>
        </p:nvSpPr>
        <p:spPr bwMode="blackWhite">
          <a:xfrm>
            <a:off x="325438" y="2743200"/>
            <a:ext cx="8599487" cy="0"/>
          </a:xfrm>
          <a:prstGeom prst="line">
            <a:avLst/>
          </a:prstGeom>
          <a:noFill/>
          <a:ln w="6350">
            <a:solidFill>
              <a:schemeClr val="folHlink"/>
            </a:solidFill>
            <a:prstDash val="dash"/>
            <a:round/>
            <a:headEnd/>
            <a:tailEnd/>
          </a:ln>
        </p:spPr>
        <p:txBody>
          <a:bodyPr wrap="none" lIns="63500" tIns="0" rIns="64800" bIns="0"/>
          <a:lstStyle/>
          <a:p>
            <a:endParaRPr lang="es-MX"/>
          </a:p>
        </p:txBody>
      </p:sp>
      <p:sp>
        <p:nvSpPr>
          <p:cNvPr id="31" name="Line 7"/>
          <p:cNvSpPr>
            <a:spLocks noChangeShapeType="1"/>
          </p:cNvSpPr>
          <p:nvPr/>
        </p:nvSpPr>
        <p:spPr bwMode="blackWhite">
          <a:xfrm>
            <a:off x="276224" y="5334000"/>
            <a:ext cx="8588375" cy="0"/>
          </a:xfrm>
          <a:prstGeom prst="line">
            <a:avLst/>
          </a:prstGeom>
          <a:noFill/>
          <a:ln w="6350">
            <a:solidFill>
              <a:schemeClr val="folHlink"/>
            </a:solidFill>
            <a:prstDash val="dash"/>
            <a:round/>
            <a:headEnd/>
            <a:tailEnd/>
          </a:ln>
        </p:spPr>
        <p:txBody>
          <a:bodyPr wrap="none" lIns="63500" tIns="0" rIns="64800" bIns="0"/>
          <a:lstStyle/>
          <a:p>
            <a:endParaRPr lang="es-MX"/>
          </a:p>
        </p:txBody>
      </p:sp>
      <p:sp>
        <p:nvSpPr>
          <p:cNvPr id="58" name="Rectangle 10"/>
          <p:cNvSpPr>
            <a:spLocks noChangeArrowheads="1"/>
          </p:cNvSpPr>
          <p:nvPr/>
        </p:nvSpPr>
        <p:spPr bwMode="auto">
          <a:xfrm>
            <a:off x="7312025" y="1365250"/>
            <a:ext cx="1392238" cy="11160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4300" indent="-114300" defTabSz="695325"/>
            <a:endParaRPr lang="es-MX" sz="10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0" name="Rectangle 10"/>
          <p:cNvSpPr>
            <a:spLocks noChangeArrowheads="1"/>
          </p:cNvSpPr>
          <p:nvPr/>
        </p:nvSpPr>
        <p:spPr bwMode="auto">
          <a:xfrm>
            <a:off x="7316787" y="1382712"/>
            <a:ext cx="1587500" cy="11160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4300" indent="-114300" defTabSz="695325"/>
            <a:endParaRPr lang="es-MX" sz="10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1" name="Rectangle 10"/>
          <p:cNvSpPr>
            <a:spLocks noChangeArrowheads="1"/>
          </p:cNvSpPr>
          <p:nvPr/>
        </p:nvSpPr>
        <p:spPr bwMode="auto">
          <a:xfrm>
            <a:off x="7334249" y="2593974"/>
            <a:ext cx="1587500" cy="11160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14300" indent="-114300" defTabSz="695325"/>
            <a:endParaRPr lang="es-MX" sz="100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68" name="Picture 2" descr="http://www.congresocanacero.org.mx/img/logotipo_ternium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1" y="3124200"/>
            <a:ext cx="1939470" cy="744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060" name="Picture 4" descr="http://congresocanacero.org.mx/img/logotipo_villacero.pn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0" y="4495800"/>
            <a:ext cx="1981200" cy="59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062" name="Picture 6" descr="http://congresocanacero.org.mx/img/logotipo_dacero.pn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7337" y="5486400"/>
            <a:ext cx="1931063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2"/>
          <p:cNvSpPr>
            <a:spLocks noGrp="1" noChangeArrowheads="1"/>
          </p:cNvSpPr>
          <p:nvPr>
            <p:ph type="title"/>
          </p:nvPr>
        </p:nvSpPr>
        <p:spPr>
          <a:xfrm>
            <a:off x="276225" y="228600"/>
            <a:ext cx="8791575" cy="609600"/>
          </a:xfrm>
        </p:spPr>
        <p:txBody>
          <a:bodyPr>
            <a:noAutofit/>
          </a:bodyPr>
          <a:lstStyle/>
          <a:p>
            <a:pPr algn="r" eaLnBrk="1" hangingPunct="1"/>
            <a:r>
              <a:rPr lang="es-MX" altLang="zh-CN" sz="4800" i="1" dirty="0" smtClean="0">
                <a:solidFill>
                  <a:schemeClr val="tx2"/>
                </a:solidFill>
              </a:rPr>
              <a:t>Proyectos de inversión </a:t>
            </a:r>
          </a:p>
        </p:txBody>
      </p:sp>
      <p:pic>
        <p:nvPicPr>
          <p:cNvPr id="45064" name="Picture 8" descr="AHMSA - Altos Hornos de México">
            <a:hlinkClick r:id="rId9" tooltip="Ir a inicio"/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4474" y="1676400"/>
            <a:ext cx="2266326" cy="769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TextBox 70"/>
          <p:cNvSpPr txBox="1"/>
          <p:nvPr/>
        </p:nvSpPr>
        <p:spPr>
          <a:xfrm>
            <a:off x="3073545" y="1371600"/>
            <a:ext cx="612154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uevos medidas y grados especiales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stampado en la placa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nchos mayores a 60” para rollo y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laca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yor capacidad de producción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yor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specialidad, para diversas industrias como automotriz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</a:t>
            </a:r>
            <a:endParaRPr lang="es-MX" sz="14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tuberías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etalmecánica, entre otras </a:t>
            </a:r>
            <a:endParaRPr lang="es-MX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Text Box 4"/>
          <p:cNvSpPr txBox="1">
            <a:spLocks noChangeArrowheads="1"/>
          </p:cNvSpPr>
          <p:nvPr/>
        </p:nvSpPr>
        <p:spPr bwMode="blackWhite">
          <a:xfrm>
            <a:off x="5001875" y="1066800"/>
            <a:ext cx="246572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3500" tIns="0" rIns="64800" bIns="0">
            <a:spAutoFit/>
          </a:bodyPr>
          <a:lstStyle/>
          <a:p>
            <a:pPr algn="l" eaLnBrk="1" hangingPunct="1">
              <a:spcBef>
                <a:spcPct val="50000"/>
              </a:spcBef>
              <a:buSzPct val="90000"/>
            </a:pPr>
            <a:r>
              <a:rPr lang="es-MX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portaciones</a:t>
            </a:r>
            <a:endParaRPr lang="es-MX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2819400" y="1365250"/>
            <a:ext cx="0" cy="4984413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/>
          <p:cNvSpPr txBox="1"/>
          <p:nvPr/>
        </p:nvSpPr>
        <p:spPr>
          <a:xfrm>
            <a:off x="3048000" y="2819400"/>
            <a:ext cx="612154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ueva planta de laminación en frio (1.5 MM </a:t>
            </a:r>
            <a:r>
              <a:rPr lang="es-MX" sz="14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ns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Nueva planta de galvanizado 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es-MX" sz="1400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prox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400 M ton)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yor 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pacidad de producción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yor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specialidad para diversas industrias como automotriz, metalmecánica, entre otra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ductos de acero con la más alta tecnología (acabos en superficies)</a:t>
            </a:r>
            <a:endParaRPr lang="es-MX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073545" y="4343400"/>
            <a:ext cx="61215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iciaron en el 2011 con la planta de tubos e inversiones en el </a:t>
            </a:r>
          </a:p>
          <a:p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centro de Servicio en MTY.</a:t>
            </a:r>
            <a:endParaRPr lang="es-MX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yor 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apacidad de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ducción y servicio.</a:t>
            </a:r>
            <a:endParaRPr lang="es-MX" sz="14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peraciones de Logística en Lazaro Cardenas (Fiscalizado).  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073545" y="5370493"/>
            <a:ext cx="612154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lanta de 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cería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y una planta 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laminación (Vigas y perfiles estructurales con estándares internacionales, opera desde principios del 2012).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yor variedad y capacidad 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de </a:t>
            </a:r>
            <a:r>
              <a:rPr lang="es-MX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roducción</a:t>
            </a:r>
            <a:r>
              <a:rPr lang="es-MX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8619" y="6428601"/>
            <a:ext cx="86805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i="1" u="sng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Esto </a:t>
            </a:r>
            <a:r>
              <a:rPr lang="es-MX" sz="1400" b="1" i="1" u="sng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e traduce en </a:t>
            </a:r>
            <a:r>
              <a:rPr lang="es-MX" sz="1400" b="1" i="1" u="sng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mayor </a:t>
            </a:r>
            <a:r>
              <a:rPr lang="es-MX" sz="1400" b="1" i="1" u="sng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apacidad de producción nacional , empleos y opciones para </a:t>
            </a:r>
            <a:r>
              <a:rPr lang="es-MX" sz="1400" b="1" i="1" u="sng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la industria.</a:t>
            </a:r>
            <a:endParaRPr lang="en-US" sz="1400" b="1" i="1" u="sng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34400" y="6356350"/>
            <a:ext cx="457200" cy="365125"/>
          </a:xfrm>
          <a:noFill/>
        </p:spPr>
        <p:txBody>
          <a:bodyPr/>
          <a:lstStyle>
            <a:lvl1pPr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1pPr>
            <a:lvl2pPr marL="742950" indent="-28575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2pPr>
            <a:lvl3pPr marL="11430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3pPr>
            <a:lvl4pPr marL="16002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4pPr>
            <a:lvl5pPr marL="20574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/>
            <a:fld id="{65458AE6-0A05-4DCF-8363-B2A992AB4B2C}" type="slidenum">
              <a:rPr lang="en-US" altLang="zh-CN" sz="1400" b="0">
                <a:solidFill>
                  <a:schemeClr val="tx1"/>
                </a:solidFill>
              </a:rPr>
              <a:pPr algn="r"/>
              <a:t>6</a:t>
            </a:fld>
            <a:endParaRPr lang="en-US" altLang="zh-CN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813228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71600" y="2895600"/>
            <a:ext cx="5715000" cy="135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355600" indent="-355600" algn="ctr" defTabSz="957263" eaLnBrk="1" hangingPunct="1">
              <a:spcBef>
                <a:spcPct val="100000"/>
              </a:spcBef>
            </a:pPr>
            <a:r>
              <a:rPr lang="es-MX" altLang="zh-CN" sz="88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Gracias</a:t>
            </a:r>
            <a:endParaRPr lang="es-MX" sz="88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534400" y="6356350"/>
            <a:ext cx="457200" cy="365125"/>
          </a:xfrm>
          <a:noFill/>
        </p:spPr>
        <p:txBody>
          <a:bodyPr/>
          <a:lstStyle>
            <a:lvl1pPr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1pPr>
            <a:lvl2pPr marL="742950" indent="-28575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2pPr>
            <a:lvl3pPr marL="11430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3pPr>
            <a:lvl4pPr marL="16002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4pPr>
            <a:lvl5pPr marL="2057400" indent="-228600"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Arial" charset="0"/>
                <a:ea typeface="SimSun" pitchFamily="2" charset="-122"/>
              </a:defRPr>
            </a:lvl9pPr>
          </a:lstStyle>
          <a:p>
            <a:pPr algn="r"/>
            <a:fld id="{65458AE6-0A05-4DCF-8363-B2A992AB4B2C}" type="slidenum">
              <a:rPr lang="en-US" altLang="zh-CN" sz="1400" b="0">
                <a:solidFill>
                  <a:schemeClr val="tx1"/>
                </a:solidFill>
              </a:rPr>
              <a:pPr algn="r"/>
              <a:t>7</a:t>
            </a:fld>
            <a:endParaRPr lang="en-US" altLang="zh-CN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2223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i5jOiyREGufeH.3bsa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DhfAHKUECePd4bDvVJ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ePDc8F0kyiJrT73GQ3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ePDc8F0kyiJrT73GQ3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qZjcL.5EaCzf_2lsUA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i5jOiyREGufeH.3bsa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i5jOiyREGufeH.3bsa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i5jOiyREGufeH.3bsaY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68</TotalTime>
  <Words>398</Words>
  <Application>Microsoft Office PowerPoint</Application>
  <PresentationFormat>Presentación en pantalla (4:3)</PresentationFormat>
  <Paragraphs>104</Paragraphs>
  <Slides>7</Slides>
  <Notes>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9" baseType="lpstr">
      <vt:lpstr>Office Theme</vt:lpstr>
      <vt:lpstr>Chart</vt:lpstr>
      <vt:lpstr>Diapositiva 1</vt:lpstr>
      <vt:lpstr>Agenda</vt:lpstr>
      <vt:lpstr>Mercado Actual</vt:lpstr>
      <vt:lpstr>Diapositiva 4</vt:lpstr>
      <vt:lpstr>Diapositiva 5</vt:lpstr>
      <vt:lpstr>Proyectos de inversión </vt:lpstr>
      <vt:lpstr>Diapositiva 7</vt:lpstr>
    </vt:vector>
  </TitlesOfParts>
  <Company>Trinity Industries,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is Eduardo Aguilar</dc:creator>
  <cp:lastModifiedBy>Registro  Express</cp:lastModifiedBy>
  <cp:revision>258</cp:revision>
  <dcterms:created xsi:type="dcterms:W3CDTF">2013-05-24T14:38:31Z</dcterms:created>
  <dcterms:modified xsi:type="dcterms:W3CDTF">2013-09-11T12:48:27Z</dcterms:modified>
</cp:coreProperties>
</file>